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31.xml" ContentType="application/vnd.openxmlformats-officedocument.presentationml.tags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45"/>
  </p:notesMasterIdLst>
  <p:handoutMasterIdLst>
    <p:handoutMasterId r:id="rId46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5988" r:id="rId12"/>
    <p:sldId id="2145705989" r:id="rId13"/>
    <p:sldId id="2145706005" r:id="rId14"/>
    <p:sldId id="2145706006" r:id="rId15"/>
    <p:sldId id="2145705990" r:id="rId16"/>
    <p:sldId id="2145705991" r:id="rId17"/>
    <p:sldId id="2145705978" r:id="rId18"/>
    <p:sldId id="2145706010" r:id="rId19"/>
    <p:sldId id="2145706009" r:id="rId20"/>
    <p:sldId id="2145705992" r:id="rId21"/>
    <p:sldId id="2145705998" r:id="rId22"/>
    <p:sldId id="2145706019" r:id="rId23"/>
    <p:sldId id="2145706007" r:id="rId24"/>
    <p:sldId id="2145706008" r:id="rId25"/>
    <p:sldId id="2145706011" r:id="rId26"/>
    <p:sldId id="2145706021" r:id="rId27"/>
    <p:sldId id="2145706012" r:id="rId28"/>
    <p:sldId id="2145706023" r:id="rId29"/>
    <p:sldId id="2145706028" r:id="rId30"/>
    <p:sldId id="2145706025" r:id="rId31"/>
    <p:sldId id="2145706027" r:id="rId32"/>
    <p:sldId id="2145706029" r:id="rId33"/>
    <p:sldId id="2145706031" r:id="rId34"/>
    <p:sldId id="2145706030" r:id="rId35"/>
    <p:sldId id="2145706013" r:id="rId36"/>
    <p:sldId id="2145706017" r:id="rId37"/>
    <p:sldId id="2145706018" r:id="rId38"/>
    <p:sldId id="2145706016" r:id="rId39"/>
    <p:sldId id="2145706014" r:id="rId40"/>
    <p:sldId id="2145706022" r:id="rId41"/>
    <p:sldId id="2145706024" r:id="rId42"/>
    <p:sldId id="2145706015" r:id="rId43"/>
    <p:sldId id="2145706004" r:id="rId44"/>
  </p:sldIdLst>
  <p:sldSz cx="12192000" cy="6858000"/>
  <p:notesSz cx="6858000" cy="9144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88"/>
            <p14:sldId id="2145705989"/>
            <p14:sldId id="2145706005"/>
            <p14:sldId id="2145706006"/>
            <p14:sldId id="2145705990"/>
            <p14:sldId id="2145705991"/>
            <p14:sldId id="2145705978"/>
            <p14:sldId id="2145706010"/>
            <p14:sldId id="2145706009"/>
            <p14:sldId id="2145705992"/>
            <p14:sldId id="2145705998"/>
            <p14:sldId id="2145706019"/>
            <p14:sldId id="2145706007"/>
            <p14:sldId id="2145706008"/>
            <p14:sldId id="2145706011"/>
            <p14:sldId id="2145706021"/>
            <p14:sldId id="2145706012"/>
            <p14:sldId id="2145706023"/>
            <p14:sldId id="2145706028"/>
            <p14:sldId id="2145706025"/>
            <p14:sldId id="2145706027"/>
            <p14:sldId id="2145706029"/>
            <p14:sldId id="2145706031"/>
            <p14:sldId id="2145706030"/>
            <p14:sldId id="2145706013"/>
            <p14:sldId id="2145706017"/>
            <p14:sldId id="2145706018"/>
            <p14:sldId id="2145706016"/>
            <p14:sldId id="2145706014"/>
            <p14:sldId id="2145706022"/>
            <p14:sldId id="2145706024"/>
            <p14:sldId id="2145706015"/>
            <p14:sldId id="214570600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E6CF"/>
    <a:srgbClr val="00467F"/>
    <a:srgbClr val="F300D6"/>
    <a:srgbClr val="9A07CB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68985" autoAdjust="0"/>
  </p:normalViewPr>
  <p:slideViewPr>
    <p:cSldViewPr snapToGrid="0" snapToObjects="1" showGuides="1">
      <p:cViewPr varScale="1">
        <p:scale>
          <a:sx n="49" d="100"/>
          <a:sy n="49" d="100"/>
        </p:scale>
        <p:origin x="1542" y="42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5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5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DFE5D-810E-B7B7-5950-600A98440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C6FA25-CA38-D556-3F92-5BA45D84D8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AC1F3A-A914-804C-5C7B-377EC3FB00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D86EEB-14A2-B922-0899-4805CA384E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77816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list types for select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ist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HeaderImag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Title;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6360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32042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template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HeaderImag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Sumar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. Provider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emplate l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Provider pr ON lt.ProviderId = pr.Id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t.Title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20627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D57FE4-70E3-1B5F-CCF9-11A8EB13F5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4255DC-C8D7-EF03-0A34-D81132ABFE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0FB94B-802A-CACD-3338-346A21899F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04AA4E-FAC9-2C83-83C4-44AD529451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572559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ACB74-3AD0-0E34-F02F-3EABC5E34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E32A95-6536-3193-DD80-0A9AD02D0A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5B40CB-1DA1-A424-8384-3FB42873FB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B1E967-2A97-6EA2-F357-FF1925B62E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62345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information of the selected templat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TemplateId INT = 5;  -- Replace with the ID of the template to view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HeaderImag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Templat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Colo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Sumar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Featur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emplate l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t.Id = @Template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25088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69594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33A3A-6ACC-AB08-E680-1ABEE3F68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9F422A-7A7A-11A9-17A0-8F3CA8AE9B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E641E-7494-F124-EB41-351045A7C4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534E0-16BB-81FB-FD50-ECA5C0B420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29416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746D8-A98D-E58D-9049-DD11AE3E1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28D687-1A89-2E5F-24AF-3DB635F0B4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159022-9C4B-D2E4-03CC-97759A0ECF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access 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EXISTS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1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istId = @ListId AND 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access: show list inf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.Id AS 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CASE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WHEN l.CreatedBy = @UserId THEN 'My List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ELSE NUL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END AS Ownership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CASE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WHEN f.Id IS NOT NULL THEN 'Yes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ELSE 'No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END AS IsFavorit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Has access' AS Access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EFT JOIN FavoriteList f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ON l.Id = f.ListId AND f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.Id = @List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no access: return notic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Ownership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IsFavorit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No access' AS AccessStatus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 views of the selected lis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if the user has acces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EXISTS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1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MemberPermission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istId = @ListId AND 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access: show all views of the lis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View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View lv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v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v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no acces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View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View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ViewTyp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DisplayOrde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IsDefaul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CreatedA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No access to this list' AS AccessStatus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visible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c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dc.IsVisible = 1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462837-36F6-927C-2D26-2DB4538686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76086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219F7-E2DD-C321-295C-84BBBC9F1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D80503-E601-0929-78FB-B6C64D79E4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8AE24E-F718-9012-D15E-DD5440E812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the cell values for each column of the specified list 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 INT = 1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cv.CellValu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CellValue lcv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DynamicColumn ldc ON lcv.ListColumnId = ldc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Row lr ON lcv.ListRowId = lr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r.Id = @List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AND lr.ListId = @ListId       -- đảm bảo đúng row thuộc list đó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AND ldc.ListId = @ListId      -- chỉ lấy cột của list này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the comments associated with that list 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 INT = 1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onten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dA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RowComment lr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lrc.CreatedBy = a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rc.ListRowId = @ListRow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F667A2-657E-E247-49AE-886476D7CD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20054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C9F89-C2F3-A793-42C1-272DB6F25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226814-0B6B-08AB-55DA-46578D02A6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AF9FE8-F9DE-E7B4-FA00-B650D3094D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Data Types of the Column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CoverImg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ata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SystemDataType s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C2C7A-97C9-23B8-72BB-7F9175433E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42512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71600-1335-5F0E-9E0A-E271E66D4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77D4E5-D91A-3E34-6F44-FD73F4E2A1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79FA8D-E17F-3200-B35B-E411E27C7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82208F-BFBB-563F-7208-942FE8D00B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276854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EB690-28F4-65A8-EEA1-5F74668B5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75360B-D8A8-416A-21D0-2ABDE8FF96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9E59B4-8498-84F4-0E0A-19755743E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Key Settings corresponding to that Data Type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ystemDataType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KeySetting k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DataTypeSettingKey dsk ON ks.Id = dsk.KeySetting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sk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sk.SystemDataTypeId = @SystemDataType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25693-157E-8626-435E-412ABE75B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6985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64D124-AD52-D05F-48B0-9D77A512C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54FB84-DDE4-EF79-0B16-8407A1C0BF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62997B-7F9F-6ABB-B078-3487847182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8FC66-8523-E2EA-FD1D-EE040E3C15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027015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all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0556774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0D828-DE99-C24D-E243-872AE3CBC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3D1838-6DF2-7AAE-BCDE-CAAE907963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B49E58-EA2B-CCB7-0FA3-5E04C0D71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6E4267-EBDD-9539-944F-6C69E4E88C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77838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F24CCA-C3B4-516C-25A0-F98631C06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5CE4A6-DE49-E700-5150-955A69E328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8BAD9F-4139-8F56-F348-DB3D094F0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DBC40-CBD7-A9E8-6C95-8D976F1C2E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56106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45200-00AD-0C3B-E9EF-616CEAC02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E19716-02C8-0F1D-00E4-9257777E4F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601E8D-9E80-A4EB-AA21-B965599292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593D24-BE39-C590-93B8-C38EEF31F8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0503081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8543D-D628-473C-4BCB-F8A9B0CAC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B78605-2336-D60F-2204-29F9C5E20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F3AB5A-0E0B-700F-BC74-EEB04461AF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44E4B9-DDEF-66E6-194E-50739D4122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2546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BECC3-2F9C-7525-028D-9555F3D428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6D18DD-7638-501D-AAB9-79E382CC66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94F007-CA97-6512-0C20-C5E457CF9D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3AC75-EC55-A7A8-0087-73657FB86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201849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701D4-58A9-7CEE-FCEC-DD3E9FBC5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3240BA-C427-A255-9D70-005CB5F234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DA3D27-537B-60ED-DFB6-AC7EFF9C42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F9981E-B4A0-7010-8754-B98F8DA887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9659455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47317-0955-6CA9-57BF-464D15FBA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E67AB7-32E5-AF3F-1F38-02C0C6E0A5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835A5D-BEBB-0C42-CE71-39414A4A3B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890C3-32FC-6F53-F29B-38C21B0261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7055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36D0E-3DFB-3CBE-9FE3-DEE6F766BA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87C8F1-0B57-4A04-1A2C-AE8B202299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1B7823-B6F6-5D02-C374-FAADDE7FBF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57B96-95AA-0582-C762-3620C3342D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589171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0447F-1CB7-04D9-0ABB-E37A07606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B055D-4B30-A59E-E929-5D5C47DD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21A2DD-CFBC-9487-1529-1ED478A5C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22A52D-A0FB-6089-A27B-06DBDB730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8549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lists that the logged-in user created or were shared with them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 -- Replace with the ID of the logged-in user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DISTIN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,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mp.HighestPermissionCode, -- Extr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mp.GrantedByAccountId -- Extr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MemberPermission lmp ON l.Id = lmp.ListId AND lmp.AccountId = @UserId -- JOIN is still used because the creator will be added to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.CreatedBy = @UserId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OR lmp.Id IS NOT NUL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s that the logged-in user create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.CreatedBy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favorite lists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 -- Replace with the ID of the logged-in user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FavoriteList f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NER JOIN List l ON fl.ListId = l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fl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fl.CreatedAt DESC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926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information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La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Email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Compan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ccount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Account 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a.Id = @User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1291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655DA-FFB3-CD96-49C7-13E5BD21E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FD26C4-EB8E-F90B-B6B1-637DEBE50D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10F57F-EAD8-D5E8-5D44-20FF564AF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38117-AC65-D396-6A73-AA306EAD63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911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Screen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8A20119-2312-F93D-05B1-8D6F20B5664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1" b="697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4864C-4583-CC29-9DF4-730C90929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482B54-9CF4-9EAB-0CED-7385EC256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Entities</a:t>
            </a:r>
          </a:p>
        </p:txBody>
      </p:sp>
      <p:pic>
        <p:nvPicPr>
          <p:cNvPr id="5" name="Picture Placeholder 4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0DC40AF3-674C-83C6-8151-9C93A431E92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8" b="1258"/>
          <a:stretch>
            <a:fillRect/>
          </a:stretch>
        </p:blipFill>
        <p:spPr>
          <a:xfrm>
            <a:off x="431998" y="1302094"/>
            <a:ext cx="11411659" cy="5391335"/>
          </a:xfrm>
        </p:spPr>
      </p:pic>
    </p:spTree>
    <p:extLst>
      <p:ext uri="{BB962C8B-B14F-4D97-AF65-F5344CB8AC3E}">
        <p14:creationId xmlns:p14="http://schemas.microsoft.com/office/powerpoint/2010/main" val="38481861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81E87-747C-6543-3BEA-28EFF842D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D324E93-984D-E97B-F8EA-1AC9A37B6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Sample Data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EEBF2C1-7B83-5A92-108A-2CCA51C6F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3"/>
          <a:stretch>
            <a:fillRect/>
          </a:stretch>
        </p:blipFill>
        <p:spPr>
          <a:xfrm>
            <a:off x="431998" y="1098000"/>
            <a:ext cx="11328003" cy="4171812"/>
          </a:xfrm>
        </p:spPr>
      </p:pic>
    </p:spTree>
    <p:extLst>
      <p:ext uri="{BB962C8B-B14F-4D97-AF65-F5344CB8AC3E}">
        <p14:creationId xmlns:p14="http://schemas.microsoft.com/office/powerpoint/2010/main" val="2933613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9148836-0D2D-E5BA-C795-DB2F2F3DC4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From List Typ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A790497-41CA-ECB4-231B-C6FE0AA7039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B0AC3EC-57F2-2BF4-87F3-8DD9EE81A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2" t="8009" b="8009"/>
          <a:stretch>
            <a:fillRect/>
          </a:stretch>
        </p:blipFill>
        <p:spPr>
          <a:xfrm>
            <a:off x="431999" y="1199600"/>
            <a:ext cx="11328002" cy="5473408"/>
          </a:xfrm>
        </p:spPr>
      </p:pic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FA0E0-7C8E-06E3-284F-F1B7A6D13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94DC190-E5C8-4167-A117-EA5AB5751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ample Data</a:t>
            </a:r>
          </a:p>
        </p:txBody>
      </p:sp>
      <p:pic>
        <p:nvPicPr>
          <p:cNvPr id="6" name="Picture Placeholder 5" descr="A diagram of a computer&#10;&#10;AI-generated content may be incorrect.">
            <a:extLst>
              <a:ext uri="{FF2B5EF4-FFF2-40B4-BE49-F238E27FC236}">
                <a16:creationId xmlns:a16="http://schemas.microsoft.com/office/drawing/2014/main" id="{6540A3CE-BEED-12FC-75E0-82A3B40B3D4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28" b="97"/>
          <a:stretch>
            <a:fillRect/>
          </a:stretch>
        </p:blipFill>
        <p:spPr>
          <a:xfrm>
            <a:off x="926628" y="1098000"/>
            <a:ext cx="10338743" cy="5233334"/>
          </a:xfrm>
        </p:spPr>
      </p:pic>
    </p:spTree>
    <p:extLst>
      <p:ext uri="{BB962C8B-B14F-4D97-AF65-F5344CB8AC3E}">
        <p14:creationId xmlns:p14="http://schemas.microsoft.com/office/powerpoint/2010/main" val="23974495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75818-D265-C143-A82E-97E110C519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0C479B3-9CF2-783C-17BC-3FC2C75E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ample Data</a:t>
            </a:r>
          </a:p>
        </p:txBody>
      </p:sp>
      <p:pic>
        <p:nvPicPr>
          <p:cNvPr id="5" name="Picture Placeholder 4" descr="A list of tasks on a sheet of paper&#10;&#10;AI-generated content may be incorrect.">
            <a:extLst>
              <a:ext uri="{FF2B5EF4-FFF2-40B4-BE49-F238E27FC236}">
                <a16:creationId xmlns:a16="http://schemas.microsoft.com/office/drawing/2014/main" id="{0B4C9DE7-8898-DE59-9B63-5288714AA6E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2"/>
          <a:stretch>
            <a:fillRect/>
          </a:stretch>
        </p:blipFill>
        <p:spPr>
          <a:xfrm>
            <a:off x="431998" y="1098000"/>
            <a:ext cx="11328003" cy="4252727"/>
          </a:xfrm>
        </p:spPr>
      </p:pic>
    </p:spTree>
    <p:extLst>
      <p:ext uri="{BB962C8B-B14F-4D97-AF65-F5344CB8AC3E}">
        <p14:creationId xmlns:p14="http://schemas.microsoft.com/office/powerpoint/2010/main" val="40695758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F2766-D0DA-8CB6-F748-E2B98E4BD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AE4D48-0173-8042-5B42-8B7703477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From Templat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2A84C92-65C8-AE48-DEEA-242353DDFEF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7429144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86DA6-C8B0-C5C4-F8D5-75EA773E8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34E7FB5-540E-7BB7-2F21-809ABB327FE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14" t="14163" r="-5814" b="11567"/>
          <a:stretch>
            <a:fillRect/>
          </a:stretch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16EFF65-BED0-97FB-2976-DB9AFB262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emplate View &amp; Template Column</a:t>
            </a:r>
          </a:p>
        </p:txBody>
      </p:sp>
    </p:spTree>
    <p:extLst>
      <p:ext uri="{BB962C8B-B14F-4D97-AF65-F5344CB8AC3E}">
        <p14:creationId xmlns:p14="http://schemas.microsoft.com/office/powerpoint/2010/main" val="2562879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</a:t>
            </a:r>
            <a:r>
              <a:rPr lang="en-GB"/>
              <a:t>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EFC20-957F-E597-13A6-F543A870A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9D86470-0489-106E-14C9-D4696E677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emplate Entities</a:t>
            </a:r>
          </a:p>
        </p:txBody>
      </p:sp>
      <p:pic>
        <p:nvPicPr>
          <p:cNvPr id="15" name="Picture Placeholder 14" descr="A diagram of a computer&#10;&#10;AI-generated content may be incorrect.">
            <a:extLst>
              <a:ext uri="{FF2B5EF4-FFF2-40B4-BE49-F238E27FC236}">
                <a16:creationId xmlns:a16="http://schemas.microsoft.com/office/drawing/2014/main" id="{48EFA83C-8081-CC55-481B-4BB20E5AAD9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"/>
          <a:stretch>
            <a:fillRect/>
          </a:stretch>
        </p:blipFill>
        <p:spPr>
          <a:xfrm>
            <a:off x="431998" y="1098000"/>
            <a:ext cx="11328003" cy="4077412"/>
          </a:xfrm>
        </p:spPr>
      </p:pic>
    </p:spTree>
    <p:extLst>
      <p:ext uri="{BB962C8B-B14F-4D97-AF65-F5344CB8AC3E}">
        <p14:creationId xmlns:p14="http://schemas.microsoft.com/office/powerpoint/2010/main" val="36789485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50EF38-376F-1BD6-5CAC-C19E1A23E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BCDE327-815A-7899-3890-2C397D9CA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Management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3945676-F6C4-7CD7-F98C-94A0F487CCC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431998" y="1098000"/>
            <a:ext cx="11328003" cy="5351812"/>
          </a:xfrm>
        </p:spPr>
      </p:pic>
    </p:spTree>
    <p:extLst>
      <p:ext uri="{BB962C8B-B14F-4D97-AF65-F5344CB8AC3E}">
        <p14:creationId xmlns:p14="http://schemas.microsoft.com/office/powerpoint/2010/main" val="20654098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4AE94-9C99-2013-F9F0-3E2755DD8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35C2F91-A801-434C-A0DF-099E4FFF5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Row Detail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639445B-7E5C-1C02-5061-D619D35E510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1" t="21596" r="2142" b="5607"/>
          <a:stretch>
            <a:fillRect/>
          </a:stretch>
        </p:blipFill>
        <p:spPr>
          <a:xfrm>
            <a:off x="432000" y="1098000"/>
            <a:ext cx="11328002" cy="4858893"/>
          </a:xfrm>
        </p:spPr>
      </p:pic>
    </p:spTree>
    <p:extLst>
      <p:ext uri="{BB962C8B-B14F-4D97-AF65-F5344CB8AC3E}">
        <p14:creationId xmlns:p14="http://schemas.microsoft.com/office/powerpoint/2010/main" val="38499539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EF8A1-492E-D225-2B6B-B6D529154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F118052-DF54-D4A4-9B78-FE0346D9E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5D913B1-935B-382A-D64F-8C493FA4D3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7121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041D4A-5197-4EE0-99C6-D16E6E339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1D64CC-BB0C-D2E7-5CB6-549EA6FE5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Entities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C77D46F-883A-4E43-C570-DBE431B0FE4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4"/>
          <a:stretch>
            <a:fillRect/>
          </a:stretch>
        </p:blipFill>
        <p:spPr>
          <a:xfrm>
            <a:off x="431999" y="1098001"/>
            <a:ext cx="11252002" cy="4090242"/>
          </a:xfrm>
        </p:spPr>
      </p:pic>
    </p:spTree>
    <p:extLst>
      <p:ext uri="{BB962C8B-B14F-4D97-AF65-F5344CB8AC3E}">
        <p14:creationId xmlns:p14="http://schemas.microsoft.com/office/powerpoint/2010/main" val="22194759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6E733E-D767-3AC2-04A7-69E5FD974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E9C9-9C71-D595-387F-F8C47AC84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 Setting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973A998-350F-4FF5-0F36-2B884A7F75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859051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651FE-27B2-BD9A-75FF-96FAB6CC5E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45AC86-4383-E46B-9025-7140C3927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 Setting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0B1A061-7F46-8518-F702-6C65407587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-184" b="566"/>
          <a:stretch>
            <a:fillRect/>
          </a:stretch>
        </p:blipFill>
        <p:spPr>
          <a:xfrm>
            <a:off x="431998" y="1098000"/>
            <a:ext cx="11328003" cy="4657298"/>
          </a:xfrm>
        </p:spPr>
      </p:pic>
    </p:spTree>
    <p:extLst>
      <p:ext uri="{BB962C8B-B14F-4D97-AF65-F5344CB8AC3E}">
        <p14:creationId xmlns:p14="http://schemas.microsoft.com/office/powerpoint/2010/main" val="16730764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3CAC2C-A674-06FD-06E8-34044DF7F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8A1BE0-430C-4ACB-EE9F-27F5035E64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00" y="1380882"/>
            <a:ext cx="6111676" cy="44942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8BB1D-2985-1E22-7B92-B1DB289AD6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2283" y="937968"/>
            <a:ext cx="3227680" cy="563667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FC74CA1-BBBE-0D58-393A-0A6E47E0AF41}"/>
              </a:ext>
            </a:extLst>
          </p:cNvPr>
          <p:cNvSpPr/>
          <p:nvPr/>
        </p:nvSpPr>
        <p:spPr>
          <a:xfrm>
            <a:off x="942975" y="5043488"/>
            <a:ext cx="1800225" cy="433630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3809859-C1A4-D2D7-7EFC-2C6D1AC0F786}"/>
              </a:ext>
            </a:extLst>
          </p:cNvPr>
          <p:cNvCxnSpPr>
            <a:cxnSpLocks/>
            <a:stCxn id="8" idx="3"/>
            <a:endCxn id="11" idx="1"/>
          </p:cNvCxnSpPr>
          <p:nvPr/>
        </p:nvCxnSpPr>
        <p:spPr>
          <a:xfrm flipV="1">
            <a:off x="2743200" y="4150519"/>
            <a:ext cx="6057900" cy="1109784"/>
          </a:xfrm>
          <a:prstGeom prst="straightConnector1">
            <a:avLst/>
          </a:prstGeom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999F0C86-DABF-965A-E7F4-A53E4CB2F99C}"/>
              </a:ext>
            </a:extLst>
          </p:cNvPr>
          <p:cNvSpPr/>
          <p:nvPr/>
        </p:nvSpPr>
        <p:spPr>
          <a:xfrm>
            <a:off x="8801100" y="2271713"/>
            <a:ext cx="1985963" cy="375761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7E4BD6-921A-4F98-D757-3F6779647252}"/>
              </a:ext>
            </a:extLst>
          </p:cNvPr>
          <p:cNvSpPr txBox="1"/>
          <p:nvPr/>
        </p:nvSpPr>
        <p:spPr>
          <a:xfrm>
            <a:off x="6886576" y="3756306"/>
            <a:ext cx="1914524" cy="4572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>
                <a:solidFill>
                  <a:srgbClr val="FF0000"/>
                </a:solidFill>
              </a:rPr>
              <a:t>System columns</a:t>
            </a:r>
            <a:endParaRPr lang="en-US" b="1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3772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C78D617-A8B5-5AF6-7F93-416FD9F8D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Column exampl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6FCCD9-C62F-4126-75DB-AF9550BB5E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452" y="1398947"/>
            <a:ext cx="3619015" cy="205275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C3B1CF-8A3A-DDFD-6D32-EE0AA3E89F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353" y="1372663"/>
            <a:ext cx="3225754" cy="22277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F7DF769-56F8-1282-844D-44B006008B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452" y="3752647"/>
            <a:ext cx="6764588" cy="187662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985840F-C99C-9BBD-D1EB-44C186C0D1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42617" y="1398947"/>
            <a:ext cx="4567983" cy="222778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FA77631-40A3-8838-CDE6-A95CFE3492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8107" y="3752647"/>
            <a:ext cx="4315427" cy="181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511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C49D99-2A46-C6AF-B699-CF9A8792A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32BAC9-8B57-E94F-A978-71B08D9EC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ynamic Column exampl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7F905F-3826-3F22-4605-5C6DCA3183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452" y="1398947"/>
            <a:ext cx="3619015" cy="205275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AA4B92C-34FB-8F54-4B78-264AC1168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353" y="1372663"/>
            <a:ext cx="3225754" cy="222778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AB69E9E-69D1-972C-3B25-94243024B0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2617" y="1398947"/>
            <a:ext cx="4567983" cy="222778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D7D61B9-4D88-2C32-6403-303CE24863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451" y="3875112"/>
            <a:ext cx="6652973" cy="14256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347349F-B253-F130-83E5-3AA06F25B7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41655" y="3600450"/>
            <a:ext cx="5073893" cy="2007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00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88BCDD3F-C285-8564-2E0C-B5016B707E3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869" b="869"/>
          <a:stretch/>
        </p:blipFill>
        <p:spPr>
          <a:prstGeom prst="rect">
            <a:avLst/>
          </a:prstGeom>
          <a:solidFill>
            <a:srgbClr val="FFFFFF">
              <a:lumMod val="95000"/>
            </a:srgbClr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7E93254-B526-C37E-5A96-CFD288E49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View</a:t>
            </a:r>
          </a:p>
        </p:txBody>
      </p:sp>
    </p:spTree>
    <p:extLst>
      <p:ext uri="{BB962C8B-B14F-4D97-AF65-F5344CB8AC3E}">
        <p14:creationId xmlns:p14="http://schemas.microsoft.com/office/powerpoint/2010/main" val="2997713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98B3D6-0D90-33B9-E52B-34E77495DC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EF6148-A32C-DC2D-8887-503343387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View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6E4DBD-7233-9237-30AF-569C003E73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8211" y="1221825"/>
            <a:ext cx="2571750" cy="52768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8BEFBAA-F817-DF76-C85F-95F679956B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2041" y="1345650"/>
            <a:ext cx="25241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2077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BC88F4-F4BB-ADB7-0F34-DF90406B3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Colum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DB5ADF-296C-EB09-C199-E2C59615E1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9672" y="1242810"/>
            <a:ext cx="2752725" cy="52673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79D1D4-770F-A886-5460-52ACF9698B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7874" y="1271384"/>
            <a:ext cx="2524125" cy="521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0953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ABCF3-8133-6283-0B32-0AA491A00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5D024FB-41DA-AF68-5E05-C4A9625A4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</a:t>
            </a:r>
          </a:p>
        </p:txBody>
      </p:sp>
      <p:pic>
        <p:nvPicPr>
          <p:cNvPr id="15" name="Picture Placeholder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1F1F8A1-2CF5-CB8C-F068-4B27AAB82B8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7" r="180"/>
          <a:stretch>
            <a:fillRect/>
          </a:stretch>
        </p:blipFill>
        <p:spPr>
          <a:xfrm>
            <a:off x="2046514" y="1098000"/>
            <a:ext cx="8098971" cy="5760000"/>
          </a:xfrm>
        </p:spPr>
      </p:pic>
    </p:spTree>
    <p:extLst>
      <p:ext uri="{BB962C8B-B14F-4D97-AF65-F5344CB8AC3E}">
        <p14:creationId xmlns:p14="http://schemas.microsoft.com/office/powerpoint/2010/main" val="32650423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A687D-585A-D598-01E2-2F6EFA9F7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D5A7C6D-E99A-546E-A5A6-394C7A2E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730F6A0-CE23-0619-E321-B7F040286C1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130"/>
          <a:stretch>
            <a:fillRect/>
          </a:stretch>
        </p:blipFill>
        <p:spPr>
          <a:xfrm>
            <a:off x="431998" y="1098001"/>
            <a:ext cx="11324573" cy="4790704"/>
          </a:xfrm>
        </p:spPr>
      </p:pic>
    </p:spTree>
    <p:extLst>
      <p:ext uri="{BB962C8B-B14F-4D97-AF65-F5344CB8AC3E}">
        <p14:creationId xmlns:p14="http://schemas.microsoft.com/office/powerpoint/2010/main" val="9839982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2E945-4E22-B789-684A-201150198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AAD71D-C359-19F2-4466-45BA7C207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 Sample Data</a:t>
            </a:r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AD55256-DB90-15B6-29C3-00DA194F69F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7"/>
          <a:stretch>
            <a:fillRect/>
          </a:stretch>
        </p:blipFill>
        <p:spPr>
          <a:xfrm>
            <a:off x="431998" y="1098000"/>
            <a:ext cx="11328003" cy="3524498"/>
          </a:xfrm>
        </p:spPr>
      </p:pic>
    </p:spTree>
    <p:extLst>
      <p:ext uri="{BB962C8B-B14F-4D97-AF65-F5344CB8AC3E}">
        <p14:creationId xmlns:p14="http://schemas.microsoft.com/office/powerpoint/2010/main" val="417785216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74176-F051-EECB-CA50-D6E847FEB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D8F9AC3-DDC2-5E69-44D4-2103D2376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</a:t>
            </a:r>
          </a:p>
        </p:txBody>
      </p:sp>
      <p:pic>
        <p:nvPicPr>
          <p:cNvPr id="4" name="Picture Placeholder 3" descr="A screenshot of a chat&#10;&#10;AI-generated content may be incorrect.">
            <a:extLst>
              <a:ext uri="{FF2B5EF4-FFF2-40B4-BE49-F238E27FC236}">
                <a16:creationId xmlns:a16="http://schemas.microsoft.com/office/drawing/2014/main" id="{A2D34B8B-3887-EBFA-4D46-8D706754969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986988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1D3D6D-3269-CDC4-C6FE-1DF37517E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BD31A76-AF79-E867-F1D8-269AF3EBA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</a:t>
            </a:r>
          </a:p>
        </p:txBody>
      </p:sp>
      <p:pic>
        <p:nvPicPr>
          <p:cNvPr id="6" name="Picture Placeholder 5" descr="A screenshot of a chat&#10;&#10;AI-generated content may be incorrect.">
            <a:extLst>
              <a:ext uri="{FF2B5EF4-FFF2-40B4-BE49-F238E27FC236}">
                <a16:creationId xmlns:a16="http://schemas.microsoft.com/office/drawing/2014/main" id="{A6299011-E8CA-ECA8-EC51-11439714D8B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791860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46274-33D8-1813-1409-C7BB76175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F0FAEAA-EE44-CEEB-4EF5-CF4A3D024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 Entities</a:t>
            </a:r>
          </a:p>
        </p:txBody>
      </p:sp>
      <p:pic>
        <p:nvPicPr>
          <p:cNvPr id="5" name="Picture Placeholder 4" descr="A diagram of a data flow&#10;&#10;AI-generated content may be incorrect.">
            <a:extLst>
              <a:ext uri="{FF2B5EF4-FFF2-40B4-BE49-F238E27FC236}">
                <a16:creationId xmlns:a16="http://schemas.microsoft.com/office/drawing/2014/main" id="{18C207E9-9D6E-DD67-DB19-1515B410C5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8" r="205"/>
          <a:stretch>
            <a:fillRect/>
          </a:stretch>
        </p:blipFill>
        <p:spPr>
          <a:xfrm>
            <a:off x="1873349" y="1098000"/>
            <a:ext cx="8445301" cy="5243408"/>
          </a:xfrm>
        </p:spPr>
      </p:pic>
    </p:spTree>
    <p:extLst>
      <p:ext uri="{BB962C8B-B14F-4D97-AF65-F5344CB8AC3E}">
        <p14:creationId xmlns:p14="http://schemas.microsoft.com/office/powerpoint/2010/main" val="41191046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FD0C0-BBE2-736B-6DB9-EEBA4825C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661A88-CE61-8704-DE90-3646700B9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 Sample Data</a:t>
            </a:r>
          </a:p>
        </p:txBody>
      </p:sp>
      <p:pic>
        <p:nvPicPr>
          <p:cNvPr id="4" name="Picture Placeholder 3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494C8C31-6CE5-9517-A2A5-6AE0FA29DC6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16"/>
          <a:stretch>
            <a:fillRect/>
          </a:stretch>
        </p:blipFill>
        <p:spPr>
          <a:xfrm>
            <a:off x="431999" y="1098001"/>
            <a:ext cx="11353602" cy="3478398"/>
          </a:xfrm>
        </p:spPr>
      </p:pic>
    </p:spTree>
    <p:extLst>
      <p:ext uri="{BB962C8B-B14F-4D97-AF65-F5344CB8AC3E}">
        <p14:creationId xmlns:p14="http://schemas.microsoft.com/office/powerpoint/2010/main" val="30240838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 dirty="0"/>
              <a:t>Introduction</a:t>
            </a:r>
          </a:p>
          <a:p>
            <a:r>
              <a:rPr lang="en-US" dirty="0"/>
              <a:t>Key Functionalities</a:t>
            </a:r>
          </a:p>
          <a:p>
            <a:r>
              <a:rPr lang="en-US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8F2D4-EE8F-6712-04E7-235CC71B0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63DFA8A-0AB8-71E6-C1B2-00CA5215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rash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231B2A2-9EEE-B83A-77AB-6E4855A2F8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9" b="9"/>
          <a:stretch>
            <a:fillRect/>
          </a:stretch>
        </p:blipFill>
        <p:spPr>
          <a:xfrm>
            <a:off x="431998" y="1098000"/>
            <a:ext cx="11328003" cy="5351812"/>
          </a:xfrm>
        </p:spPr>
      </p:pic>
    </p:spTree>
    <p:extLst>
      <p:ext uri="{BB962C8B-B14F-4D97-AF65-F5344CB8AC3E}">
        <p14:creationId xmlns:p14="http://schemas.microsoft.com/office/powerpoint/2010/main" val="33464051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03306-D96C-F23E-D98C-D03D10535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EF90ED-AEED-A160-1BCE-A3CD84AD9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5B0710-24D8-DC02-9718-E3525B623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9AC88A2-8CBC-9629-9F61-1ECA954DFD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8F7F58-5182-D291-B326-EF091C452E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013249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Key </a:t>
            </a:r>
            <a:r>
              <a:rPr lang="en-US" dirty="0" err="1"/>
              <a:t>Functionalit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2572" y="1109759"/>
            <a:ext cx="7219428" cy="46384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826883"/>
            <a:ext cx="4877419" cy="3204232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Screen</a:t>
            </a:r>
          </a:p>
        </p:txBody>
      </p:sp>
      <p:pic>
        <p:nvPicPr>
          <p:cNvPr id="7" name="Picture Placeholder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278B8A0-1BF9-276A-9BF9-724FE94B212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2" b="3386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1440</TotalTime>
  <Words>1401</Words>
  <Application>Microsoft Office PowerPoint</Application>
  <PresentationFormat>Widescreen</PresentationFormat>
  <Paragraphs>323</Paragraphs>
  <Slides>41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5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</vt:lpstr>
      <vt:lpstr>Key Functionalities of MS Lists</vt:lpstr>
      <vt:lpstr>Dashboard Screen</vt:lpstr>
      <vt:lpstr>Dashboard Screen</vt:lpstr>
      <vt:lpstr>Dashboard Entities</vt:lpstr>
      <vt:lpstr>Dashboard Sample Data</vt:lpstr>
      <vt:lpstr>Create List Screen</vt:lpstr>
      <vt:lpstr>Create List From List Type</vt:lpstr>
      <vt:lpstr>Create List Screen</vt:lpstr>
      <vt:lpstr>Create List Sample Data</vt:lpstr>
      <vt:lpstr>Create List Sample Data</vt:lpstr>
      <vt:lpstr>Create List From Template</vt:lpstr>
      <vt:lpstr>Template View &amp; Template Column</vt:lpstr>
      <vt:lpstr>Template Entities</vt:lpstr>
      <vt:lpstr>List Management</vt:lpstr>
      <vt:lpstr>List Row Detail</vt:lpstr>
      <vt:lpstr>List Column</vt:lpstr>
      <vt:lpstr>List Entities</vt:lpstr>
      <vt:lpstr>List Column Setting</vt:lpstr>
      <vt:lpstr>List Column Setting Entities</vt:lpstr>
      <vt:lpstr>System column</vt:lpstr>
      <vt:lpstr>System Column example data</vt:lpstr>
      <vt:lpstr>Dynamic Column example data</vt:lpstr>
      <vt:lpstr>Format View</vt:lpstr>
      <vt:lpstr>Format View</vt:lpstr>
      <vt:lpstr>Format Column</vt:lpstr>
      <vt:lpstr>List View</vt:lpstr>
      <vt:lpstr>List View Entities</vt:lpstr>
      <vt:lpstr>List View Sample Data</vt:lpstr>
      <vt:lpstr>Manage Access</vt:lpstr>
      <vt:lpstr>Manage Access</vt:lpstr>
      <vt:lpstr>Manage Access Entities</vt:lpstr>
      <vt:lpstr>Manage Access Sample Data</vt:lpstr>
      <vt:lpstr>Trash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26</cp:revision>
  <dcterms:created xsi:type="dcterms:W3CDTF">2025-07-10T03:51:23Z</dcterms:created>
  <dcterms:modified xsi:type="dcterms:W3CDTF">2025-08-05T06:21:03Z</dcterms:modified>
</cp:coreProperties>
</file>